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"/>
  </p:notesMasterIdLst>
  <p:sldIdLst>
    <p:sldId id="2147473317" r:id="rId2"/>
    <p:sldId id="309" r:id="rId3"/>
    <p:sldId id="280" r:id="rId4"/>
    <p:sldId id="279" r:id="rId5"/>
    <p:sldId id="289" r:id="rId6"/>
    <p:sldId id="292" r:id="rId7"/>
    <p:sldId id="297" r:id="rId8"/>
    <p:sldId id="302" r:id="rId9"/>
    <p:sldId id="299" r:id="rId10"/>
    <p:sldId id="2147473364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7"/>
    <p:restoredTop sz="96512"/>
  </p:normalViewPr>
  <p:slideViewPr>
    <p:cSldViewPr snapToGrid="0">
      <p:cViewPr>
        <p:scale>
          <a:sx n="108" d="100"/>
          <a:sy n="108" d="100"/>
        </p:scale>
        <p:origin x="976" y="5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03D667-E487-6F4B-8144-A7EF3CE3C122}" type="datetimeFigureOut">
              <a:rPr lang="en-US" smtClean="0"/>
              <a:t>8/2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AF28F4-C3BA-0940-9934-B70786D516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15076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BD2C90-BBA0-46EC-8B01-B5FB30F66FDA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i everyone, today Sarah and I are going ...</a:t>
            </a:r>
          </a:p>
        </p:txBody>
      </p:sp>
    </p:spTree>
    <p:extLst>
      <p:ext uri="{BB962C8B-B14F-4D97-AF65-F5344CB8AC3E}">
        <p14:creationId xmlns:p14="http://schemas.microsoft.com/office/powerpoint/2010/main" val="28613440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28104F-AB6B-BAD6-6309-93189B8474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AE960A5-076A-2704-FC7C-9C3DEBA04F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B2D973-D1D3-5F2C-8702-0759C7A12A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56870-5473-9C4E-B12B-B1300638A7DD}" type="datetimeFigureOut">
              <a:rPr lang="en-US" smtClean="0"/>
              <a:t>8/2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EB93A0-8C95-90C2-FE3B-DCBCCFF52B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671C72-BB7F-E017-5799-B75DC36F48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2A55-592B-184A-B1DE-CC36742162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965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DE5ED6-C071-D513-0828-B1A55E7C2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1E6BA7D-79A7-AA14-3AB3-52828E51030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33AADD-B8DE-BE19-9928-25DCC7D54C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56870-5473-9C4E-B12B-B1300638A7DD}" type="datetimeFigureOut">
              <a:rPr lang="en-US" smtClean="0"/>
              <a:t>8/2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A38386-36FB-F19E-809F-3CE81CE0F9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3D236E-9849-256F-455D-7EA4842D9F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2A55-592B-184A-B1DE-CC36742162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40217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9ECDA3F-FE17-EACC-4E11-FB6AD05AEEE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8240381-D711-B06F-A61D-84D32631B26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8E03A0-B30A-BFB4-C2DB-F61EC463C4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56870-5473-9C4E-B12B-B1300638A7DD}" type="datetimeFigureOut">
              <a:rPr lang="en-US" smtClean="0"/>
              <a:t>8/2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27B74F-0955-532F-0093-3536EE8744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AAEBFB-F24E-CC24-EE88-03F3FAA838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2A55-592B-184A-B1DE-CC36742162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70339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3 (3)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46F970B-FFC8-D64C-8A10-1CEF766073F3}" type="datetime1">
              <a:rPr lang="en-US" smtClean="0"/>
              <a:t>8/2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Genome Editing Workshop /// February 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10F45FFE-96B1-40C5-A292-0CA94D34D065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1B2855E-6374-4E16-B969-06FB4FD6A6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113407" y="0"/>
            <a:ext cx="3985226" cy="6858000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95279B28-8E9A-48EF-BBFA-EB5F09F244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806770" y="0"/>
            <a:ext cx="3995858" cy="6858000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0" name="Picture Placeholder 56">
            <a:extLst>
              <a:ext uri="{FF2B5EF4-FFF2-40B4-BE49-F238E27FC236}">
                <a16:creationId xmlns:a16="http://schemas.microsoft.com/office/drawing/2014/main" id="{3DF0ABB8-43C5-486B-97C5-606C5882130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9586888" y="0"/>
            <a:ext cx="2607493" cy="646392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</a:t>
            </a:r>
            <a:br>
              <a:rPr lang="en-US"/>
            </a:br>
            <a:r>
              <a:rPr lang="en-US"/>
              <a:t>add picture</a:t>
            </a:r>
            <a:endParaRPr lang="de-DE"/>
          </a:p>
        </p:txBody>
      </p:sp>
      <p:sp>
        <p:nvSpPr>
          <p:cNvPr id="14" name="MIO_VALID_LAYOUT" hidden="1">
            <a:extLst>
              <a:ext uri="{FF2B5EF4-FFF2-40B4-BE49-F238E27FC236}">
                <a16:creationId xmlns:a16="http://schemas.microsoft.com/office/drawing/2014/main" id="{0465EA00-3EFA-4E02-9E94-4A0C46405631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Logoschutz" hidden="1">
            <a:extLst>
              <a:ext uri="{FF2B5EF4-FFF2-40B4-BE49-F238E27FC236}">
                <a16:creationId xmlns:a16="http://schemas.microsoft.com/office/drawing/2014/main" id="{0E4D9B70-294B-4EEF-9E60-A1B22BE16F42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54488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CA4D1F-4761-5631-0280-B067BEA609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81235C-35EC-5BDD-E8ED-D98C3CBF66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9225B7-8A0C-E846-771F-906B186A49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56870-5473-9C4E-B12B-B1300638A7DD}" type="datetimeFigureOut">
              <a:rPr lang="en-US" smtClean="0"/>
              <a:t>8/2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215282-E2C3-719A-1B27-C4A85D9E18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FCD4F6-8D62-C577-9E9E-3798B78CD6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2A55-592B-184A-B1DE-CC36742162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34860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20E09F-8D1B-847E-A4BF-E3A3730607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54EBFF-11BA-86CB-1DEF-4BACA63F2B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EA78F4-3E9B-7AD9-F888-623998914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56870-5473-9C4E-B12B-B1300638A7DD}" type="datetimeFigureOut">
              <a:rPr lang="en-US" smtClean="0"/>
              <a:t>8/2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D15D65-9DA3-B0B1-D950-A1E497132F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B44D20-EEBF-3ABA-E496-60090D92B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2A55-592B-184A-B1DE-CC36742162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38267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F0CAE-46CD-46EF-7E22-1341E0B6C8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109CB1-A850-574F-D83B-C83FD88D09F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F536B5-C2AE-203D-2634-34B4D85BDEF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E2583D7-5B49-2867-9193-1C6AF24276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56870-5473-9C4E-B12B-B1300638A7DD}" type="datetimeFigureOut">
              <a:rPr lang="en-US" smtClean="0"/>
              <a:t>8/2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9A896C9-31A3-E3DC-A5F3-A097191B5C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CA9D17-1E9B-FDC4-EC7D-2E62853CD9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2A55-592B-184A-B1DE-CC36742162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47128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50DBA5-6ADC-5E91-2D1B-4E8F2F3208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6A9D12-D1BC-E63A-2C22-15B2147CA6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F2AB5EF-72E6-05E4-51A4-4972A3D50C4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7C816C-9EDF-CA53-7FC2-432301EB16F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F0ADFD2-37F6-A6A6-434E-078DE88EE11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5BEBCE-F28B-224B-37F7-617AB00512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56870-5473-9C4E-B12B-B1300638A7DD}" type="datetimeFigureOut">
              <a:rPr lang="en-US" smtClean="0"/>
              <a:t>8/2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BA8EE38-91EF-09EB-A311-E57D22CC48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C69080A-829B-0724-0F86-EAD6F00FB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2A55-592B-184A-B1DE-CC36742162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58564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48849C-1652-98E3-B1CF-7847157E4E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D62EE2-1587-96EE-88A3-E426A2092A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56870-5473-9C4E-B12B-B1300638A7DD}" type="datetimeFigureOut">
              <a:rPr lang="en-US" smtClean="0"/>
              <a:t>8/2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97C2C8-24A0-A843-EAB9-BF107F2042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B86E91-834A-AEA5-FA5D-E4C4C71FEE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2A55-592B-184A-B1DE-CC36742162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28380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C506C5-7242-DC7E-0B25-8B0F13AF40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56870-5473-9C4E-B12B-B1300638A7DD}" type="datetimeFigureOut">
              <a:rPr lang="en-US" smtClean="0"/>
              <a:t>8/2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A11865B-ACC6-BB7B-9242-123040919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A9CBAF-D21A-C66C-BA3E-A7244740F1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2A55-592B-184A-B1DE-CC36742162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08467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7469FB-FD1B-F641-E679-76B41A42AD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13D75F-6BB0-071A-3337-1FD5DB68FA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D47D59C-AFDC-FFC1-C8AA-5130A6E02C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5754C6C-3C1D-009A-A36F-03522D0790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56870-5473-9C4E-B12B-B1300638A7DD}" type="datetimeFigureOut">
              <a:rPr lang="en-US" smtClean="0"/>
              <a:t>8/2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9AFF4C-EC5D-BEEF-AF6B-39EB11A3F5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31803E-3DC4-F128-D0E6-255F3E953B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2A55-592B-184A-B1DE-CC36742162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66503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D2152F-4FBD-1F7A-A1A0-40E5EF4A49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17469E-A95C-357F-AE33-945133B73D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53E129-1725-4160-C7FC-639CCEBFA3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99A9274-9914-EFA5-3937-15B5764840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56870-5473-9C4E-B12B-B1300638A7DD}" type="datetimeFigureOut">
              <a:rPr lang="en-US" smtClean="0"/>
              <a:t>8/2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F0578D6-244C-6415-DFF9-05F0BE9629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B016197-C666-1BBD-4BD9-73488D7E0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2A55-592B-184A-B1DE-CC36742162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567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48E2F0B-4855-EE3F-EFDE-67139EC54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DE6228-93D8-E11C-D7E8-B4010E5DCC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3144C8-8911-4F13-A24B-60149902B77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A756870-5473-9C4E-B12B-B1300638A7DD}" type="datetimeFigureOut">
              <a:rPr lang="en-US" smtClean="0"/>
              <a:t>8/2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BA3C2C-8B4A-7192-350E-2E5B96A7FD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68774C-44CC-9970-671B-5334013556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2F2A55-592B-184A-B1DE-CC367421623E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777F0BC-570E-30AD-48A5-FE3E43EA8EAC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0758488" y="6459220"/>
            <a:ext cx="1433512" cy="3352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2777121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Genome Editing Workshop /// February 202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>
          <a:xfrm>
            <a:off x="710438" y="1737813"/>
            <a:ext cx="3620828" cy="1440000"/>
          </a:xfrm>
        </p:spPr>
        <p:txBody>
          <a:bodyPr>
            <a:normAutofit fontScale="90000"/>
          </a:bodyPr>
          <a:lstStyle/>
          <a:p>
            <a:r>
              <a:rPr lang="en-US" dirty="0"/>
              <a:t>Single cell sequence data to facilitate Maize kernel row number gene discovery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10160" y="4548267"/>
            <a:ext cx="2915519" cy="1080000"/>
          </a:xfrm>
        </p:spPr>
        <p:txBody>
          <a:bodyPr>
            <a:normAutofit/>
          </a:bodyPr>
          <a:lstStyle/>
          <a:p>
            <a:r>
              <a:rPr lang="en-US" dirty="0"/>
              <a:t>Lin Du</a:t>
            </a:r>
          </a:p>
        </p:txBody>
      </p:sp>
      <p:pic>
        <p:nvPicPr>
          <p:cNvPr id="25" name="Picture Placeholder 24" descr="A picture containing coelenterate, decorated&#10;&#10;Description automatically generated">
            <a:extLst>
              <a:ext uri="{FF2B5EF4-FFF2-40B4-BE49-F238E27FC236}">
                <a16:creationId xmlns:a16="http://schemas.microsoft.com/office/drawing/2014/main" id="{18FEA373-7034-9B94-E8EB-F48A169A662A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3"/>
          <a:srcRect l="28203" r="28203"/>
          <a:stretch>
            <a:fillRect/>
          </a:stretch>
        </p:blipFill>
        <p:spPr/>
      </p:pic>
      <p:pic>
        <p:nvPicPr>
          <p:cNvPr id="14" name="Picture Placeholder 13" descr="Diagram&#10;&#10;Description automatically generated">
            <a:extLst>
              <a:ext uri="{FF2B5EF4-FFF2-40B4-BE49-F238E27FC236}">
                <a16:creationId xmlns:a16="http://schemas.microsoft.com/office/drawing/2014/main" id="{DD633776-5063-D137-FA59-801DD0FABFAE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4"/>
          <a:srcRect l="30579" r="30579"/>
          <a:stretch>
            <a:fillRect/>
          </a:stretch>
        </p:blipFill>
        <p:spPr/>
      </p:pic>
      <p:pic>
        <p:nvPicPr>
          <p:cNvPr id="21" name="Picture Placeholder 20" descr="A close up of a dandelion flower&#10;&#10;Description automatically generated with medium confidence">
            <a:extLst>
              <a:ext uri="{FF2B5EF4-FFF2-40B4-BE49-F238E27FC236}">
                <a16:creationId xmlns:a16="http://schemas.microsoft.com/office/drawing/2014/main" id="{8AB7B47B-0E92-DB52-7A4A-7DB749080841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5"/>
          <a:srcRect l="22467" r="22467"/>
          <a:stretch>
            <a:fillRect/>
          </a:stretch>
        </p:blipFill>
        <p:spPr/>
      </p:pic>
      <p:cxnSp>
        <p:nvCxnSpPr>
          <p:cNvPr id="7" name="Straight Connector 6"/>
          <p:cNvCxnSpPr/>
          <p:nvPr/>
        </p:nvCxnSpPr>
        <p:spPr bwMode="gray">
          <a:xfrm flipH="1">
            <a:off x="6788617" y="-724"/>
            <a:ext cx="1330409" cy="6858724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 bwMode="gray">
          <a:xfrm flipH="1">
            <a:off x="4087026" y="-724"/>
            <a:ext cx="1330409" cy="6858724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 bwMode="gray">
          <a:xfrm flipH="1">
            <a:off x="9567516" y="-724"/>
            <a:ext cx="1253994" cy="646477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D91FB929-DD67-7499-3D8B-0CE69FCD6D2F}"/>
              </a:ext>
            </a:extLst>
          </p:cNvPr>
          <p:cNvSpPr txBox="1"/>
          <p:nvPr/>
        </p:nvSpPr>
        <p:spPr>
          <a:xfrm>
            <a:off x="179362" y="5342587"/>
            <a:ext cx="397711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Thanks to Keith Decker, </a:t>
            </a:r>
            <a:r>
              <a:rPr lang="en-US" sz="2000" dirty="0" err="1">
                <a:solidFill>
                  <a:schemeClr val="bg1"/>
                </a:solidFill>
              </a:rPr>
              <a:t>Jiani</a:t>
            </a:r>
            <a:r>
              <a:rPr lang="en-US" sz="2000" dirty="0">
                <a:solidFill>
                  <a:schemeClr val="bg1"/>
                </a:solidFill>
              </a:rPr>
              <a:t> Yang, </a:t>
            </a:r>
          </a:p>
          <a:p>
            <a:r>
              <a:rPr lang="en-US" sz="2000" dirty="0">
                <a:solidFill>
                  <a:schemeClr val="bg1"/>
                </a:solidFill>
              </a:rPr>
              <a:t>Benjamin </a:t>
            </a:r>
            <a:r>
              <a:rPr lang="en-US" sz="2000" dirty="0" err="1">
                <a:solidFill>
                  <a:schemeClr val="bg1"/>
                </a:solidFill>
              </a:rPr>
              <a:t>Buer</a:t>
            </a:r>
            <a:r>
              <a:rPr lang="en-US" sz="2000" dirty="0">
                <a:solidFill>
                  <a:schemeClr val="bg1"/>
                </a:solidFill>
              </a:rPr>
              <a:t> and Rebecca </a:t>
            </a:r>
            <a:r>
              <a:rPr lang="en-US" sz="2000" dirty="0" err="1">
                <a:solidFill>
                  <a:schemeClr val="bg1"/>
                </a:solidFill>
              </a:rPr>
              <a:t>Lowdon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2552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F02BF6F-3E5F-42DE-4BE8-8EA9989EC6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411" y="0"/>
            <a:ext cx="689229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708482F-F43F-E080-5D76-B5F089ACD2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73172" y="4691824"/>
            <a:ext cx="8718828" cy="162584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95379DE-0DF0-D3B3-BA36-7C1366E117E6}"/>
              </a:ext>
            </a:extLst>
          </p:cNvPr>
          <p:cNvSpPr txBox="1"/>
          <p:nvPr/>
        </p:nvSpPr>
        <p:spPr>
          <a:xfrm>
            <a:off x="6715244" y="309496"/>
            <a:ext cx="547675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002060"/>
                </a:solidFill>
              </a:rPr>
              <a:t>Integrate sc RNA-seq and sc ATAC-seq dat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BFECCDB-5645-1792-F0CD-E1DD4E0EFC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00102" y="1200605"/>
            <a:ext cx="3356414" cy="3676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3870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BDF2693-BF31-FDED-B615-EE4384C626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5632" y="1221829"/>
            <a:ext cx="5092148" cy="546233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4A4E525-C22D-C17C-1640-4F77FBBBE1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59884" y="285008"/>
            <a:ext cx="5741203" cy="6287984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AC23DAC3-D22C-8B8E-D1F2-FC7AD795F1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632" y="0"/>
            <a:ext cx="5092148" cy="1325563"/>
          </a:xfrm>
        </p:spPr>
        <p:txBody>
          <a:bodyPr>
            <a:normAutofit/>
          </a:bodyPr>
          <a:lstStyle/>
          <a:p>
            <a:r>
              <a:rPr lang="en-US" sz="3600" dirty="0"/>
              <a:t>Single cell ATAC-seq data </a:t>
            </a:r>
            <a:br>
              <a:rPr lang="en-US" sz="3600" dirty="0"/>
            </a:br>
            <a:r>
              <a:rPr lang="en-US" sz="3600" dirty="0"/>
              <a:t>of Ear tissu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8043482-73AE-05F0-D0CD-F9FC2730D815}"/>
              </a:ext>
            </a:extLst>
          </p:cNvPr>
          <p:cNvSpPr txBox="1"/>
          <p:nvPr/>
        </p:nvSpPr>
        <p:spPr>
          <a:xfrm>
            <a:off x="8530486" y="5071580"/>
            <a:ext cx="247899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3,967 cell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FF7265E-9388-3865-C926-FA3E6870B3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6030087"/>
            <a:ext cx="4866516" cy="725206"/>
          </a:xfrm>
          <a:prstGeom prst="rect">
            <a:avLst/>
          </a:prstGeom>
        </p:spPr>
      </p:pic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66AFDDFC-D3F5-4696-51E5-980A682C9BFB}"/>
              </a:ext>
            </a:extLst>
          </p:cNvPr>
          <p:cNvCxnSpPr>
            <a:cxnSpLocks/>
          </p:cNvCxnSpPr>
          <p:nvPr/>
        </p:nvCxnSpPr>
        <p:spPr>
          <a:xfrm flipV="1">
            <a:off x="4085112" y="615068"/>
            <a:ext cx="2016889" cy="3185036"/>
          </a:xfrm>
          <a:prstGeom prst="straightConnector1">
            <a:avLst/>
          </a:prstGeom>
          <a:ln w="412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21FC272F-F174-6EAE-0652-0D6892635E2C}"/>
              </a:ext>
            </a:extLst>
          </p:cNvPr>
          <p:cNvCxnSpPr>
            <a:cxnSpLocks/>
          </p:cNvCxnSpPr>
          <p:nvPr/>
        </p:nvCxnSpPr>
        <p:spPr>
          <a:xfrm>
            <a:off x="4079111" y="4697594"/>
            <a:ext cx="2016889" cy="1055188"/>
          </a:xfrm>
          <a:prstGeom prst="straightConnector1">
            <a:avLst/>
          </a:prstGeom>
          <a:ln w="412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9949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31DE31B-8D90-6D2B-82D8-A929F14366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244" y="1224337"/>
            <a:ext cx="10330543" cy="5264331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AB7A569F-F696-5705-3DAC-A85796D85D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825" y="0"/>
            <a:ext cx="11616621" cy="1325563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chemeClr val="accent1">
                    <a:lumMod val="50000"/>
                  </a:schemeClr>
                </a:solidFill>
              </a:rPr>
              <a:t>Single cell ATAC-seq data contains cell specific inform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BEF076E-1792-8F5F-9949-24AED42B694A}"/>
              </a:ext>
            </a:extLst>
          </p:cNvPr>
          <p:cNvSpPr txBox="1"/>
          <p:nvPr/>
        </p:nvSpPr>
        <p:spPr>
          <a:xfrm>
            <a:off x="7450667" y="140900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FDR &lt;= 0.05 &amp; Log2FC &gt;= 1  2061 gen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FE56300-7438-4D3D-356B-2ACDC920C5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244" y="6172884"/>
            <a:ext cx="4238147" cy="63156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1760F0A-24AB-E335-ED03-C2D9E6676783}"/>
              </a:ext>
            </a:extLst>
          </p:cNvPr>
          <p:cNvSpPr txBox="1"/>
          <p:nvPr/>
        </p:nvSpPr>
        <p:spPr>
          <a:xfrm>
            <a:off x="1524574" y="1224337"/>
            <a:ext cx="49406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Based on the ATAC-seq peak height at TSS of genes</a:t>
            </a:r>
          </a:p>
        </p:txBody>
      </p:sp>
    </p:spTree>
    <p:extLst>
      <p:ext uri="{BB962C8B-B14F-4D97-AF65-F5344CB8AC3E}">
        <p14:creationId xmlns:p14="http://schemas.microsoft.com/office/powerpoint/2010/main" val="40205759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BAC50AC-57D2-5DFF-6903-BC75E6F4DF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1163" y="1056904"/>
            <a:ext cx="10279014" cy="580109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9239296-0945-BE60-FB16-83D7EDEF5F6F}"/>
              </a:ext>
            </a:extLst>
          </p:cNvPr>
          <p:cNvSpPr txBox="1"/>
          <p:nvPr/>
        </p:nvSpPr>
        <p:spPr>
          <a:xfrm>
            <a:off x="6107345" y="1535811"/>
            <a:ext cx="7915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UB2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EDC76F8-77A6-A253-5BB9-9CD659DEFEFC}"/>
              </a:ext>
            </a:extLst>
          </p:cNvPr>
          <p:cNvSpPr/>
          <p:nvPr/>
        </p:nvSpPr>
        <p:spPr>
          <a:xfrm>
            <a:off x="6626190" y="5327059"/>
            <a:ext cx="272742" cy="47403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3358876-2DB6-CA16-3C88-AEC40C24611A}"/>
              </a:ext>
            </a:extLst>
          </p:cNvPr>
          <p:cNvSpPr/>
          <p:nvPr/>
        </p:nvSpPr>
        <p:spPr>
          <a:xfrm>
            <a:off x="9054953" y="4086651"/>
            <a:ext cx="272742" cy="27711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C350E2E-D323-FCB4-0E2E-8E513BC7A199}"/>
              </a:ext>
            </a:extLst>
          </p:cNvPr>
          <p:cNvSpPr txBox="1"/>
          <p:nvPr/>
        </p:nvSpPr>
        <p:spPr>
          <a:xfrm>
            <a:off x="321163" y="347670"/>
            <a:ext cx="943149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chemeClr val="accent1">
                    <a:lumMod val="50000"/>
                  </a:schemeClr>
                </a:solidFill>
              </a:rPr>
              <a:t>Single cell ATAC-seq data helps to define cell type specific gen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866A236-C474-0330-CE71-AA5A5C39D6F9}"/>
              </a:ext>
            </a:extLst>
          </p:cNvPr>
          <p:cNvSpPr txBox="1"/>
          <p:nvPr/>
        </p:nvSpPr>
        <p:spPr>
          <a:xfrm>
            <a:off x="7241295" y="5240911"/>
            <a:ext cx="502272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c ATAC-seq detects cell specific expression of UB2, </a:t>
            </a:r>
          </a:p>
          <a:p>
            <a:r>
              <a:rPr lang="en-US" dirty="0"/>
              <a:t>which was not detected by sc RNA-seq</a:t>
            </a:r>
          </a:p>
        </p:txBody>
      </p:sp>
    </p:spTree>
    <p:extLst>
      <p:ext uri="{BB962C8B-B14F-4D97-AF65-F5344CB8AC3E}">
        <p14:creationId xmlns:p14="http://schemas.microsoft.com/office/powerpoint/2010/main" val="35486465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2CD801-03C2-8564-6B0E-C6438197E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434" y="-68011"/>
            <a:ext cx="10515600" cy="1325563"/>
          </a:xfrm>
        </p:spPr>
        <p:txBody>
          <a:bodyPr/>
          <a:lstStyle/>
          <a:p>
            <a:r>
              <a:rPr lang="en-US" dirty="0"/>
              <a:t>Identify marker peak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FB0CB4E-32D9-CF04-E550-47CA24D35C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5319" y="1073040"/>
            <a:ext cx="10712115" cy="5618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8775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063260-CBA2-36D8-0A13-81267AB545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irwise Testing Between cluster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8B2A436-F279-8DA6-060D-871CC5EC2F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5163" y="2109355"/>
            <a:ext cx="4868074" cy="438352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790CD6F-74DC-FC5D-F00D-E739C55EC8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21682" y="2139609"/>
            <a:ext cx="4413588" cy="435326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4A6F603-2B73-C905-ADAA-42FCF6A0BD7E}"/>
              </a:ext>
            </a:extLst>
          </p:cNvPr>
          <p:cNvSpPr txBox="1"/>
          <p:nvPr/>
        </p:nvSpPr>
        <p:spPr>
          <a:xfrm>
            <a:off x="5143500" y="1527464"/>
            <a:ext cx="1089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2_vs_C6</a:t>
            </a:r>
          </a:p>
        </p:txBody>
      </p:sp>
    </p:spTree>
    <p:extLst>
      <p:ext uri="{BB962C8B-B14F-4D97-AF65-F5344CB8AC3E}">
        <p14:creationId xmlns:p14="http://schemas.microsoft.com/office/powerpoint/2010/main" val="3389935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FE41A-FC8F-F6FB-D4D6-4ED501536F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675" y="706530"/>
            <a:ext cx="11304248" cy="1325563"/>
          </a:xfrm>
        </p:spPr>
        <p:txBody>
          <a:bodyPr>
            <a:normAutofit/>
          </a:bodyPr>
          <a:lstStyle/>
          <a:p>
            <a:r>
              <a:rPr lang="en-US" sz="2400" dirty="0"/>
              <a:t>Motif enrichment difference between C2 and C6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AA5A939-D155-E8DA-52D3-AB867B9227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42673"/>
            <a:ext cx="6137491" cy="534907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4F33E2B-F048-1698-311F-A582AD468B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54509" y="1565074"/>
            <a:ext cx="6137491" cy="530549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EF8B68A-6BF1-E02B-3DA7-F80AB130F3B1}"/>
              </a:ext>
            </a:extLst>
          </p:cNvPr>
          <p:cNvSpPr txBox="1"/>
          <p:nvPr/>
        </p:nvSpPr>
        <p:spPr>
          <a:xfrm>
            <a:off x="4013733" y="1980778"/>
            <a:ext cx="17427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2 enriched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A998E91-48B5-62D6-F769-600EF1BD498C}"/>
              </a:ext>
            </a:extLst>
          </p:cNvPr>
          <p:cNvSpPr txBox="1"/>
          <p:nvPr/>
        </p:nvSpPr>
        <p:spPr>
          <a:xfrm>
            <a:off x="10004377" y="1980778"/>
            <a:ext cx="17427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6 enriched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57FBA06-0721-5A9E-349E-6975942C8DFC}"/>
              </a:ext>
            </a:extLst>
          </p:cNvPr>
          <p:cNvSpPr txBox="1"/>
          <p:nvPr/>
        </p:nvSpPr>
        <p:spPr>
          <a:xfrm>
            <a:off x="10549288" y="1345511"/>
            <a:ext cx="9156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HOM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CC81EE1-3AD9-C892-6E32-F525094A05F4}"/>
              </a:ext>
            </a:extLst>
          </p:cNvPr>
          <p:cNvSpPr txBox="1"/>
          <p:nvPr/>
        </p:nvSpPr>
        <p:spPr>
          <a:xfrm>
            <a:off x="4013733" y="2868236"/>
            <a:ext cx="160011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ZNF692.Zf_330</a:t>
            </a:r>
          </a:p>
          <a:p>
            <a:r>
              <a:rPr lang="en-US" dirty="0">
                <a:solidFill>
                  <a:srgbClr val="FF0000"/>
                </a:solidFill>
              </a:rPr>
              <a:t>Sp1.Zf_266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256F571-B90D-EC64-9DCA-9E33847DDC03}"/>
              </a:ext>
            </a:extLst>
          </p:cNvPr>
          <p:cNvSpPr txBox="1"/>
          <p:nvPr/>
        </p:nvSpPr>
        <p:spPr>
          <a:xfrm>
            <a:off x="10004377" y="2545070"/>
            <a:ext cx="1774781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Stat3.Stat_275</a:t>
            </a:r>
          </a:p>
          <a:p>
            <a:r>
              <a:rPr lang="en-US" dirty="0">
                <a:solidFill>
                  <a:srgbClr val="FF0000"/>
                </a:solidFill>
              </a:rPr>
              <a:t>HRE.HSF_134</a:t>
            </a:r>
          </a:p>
          <a:p>
            <a:r>
              <a:rPr lang="en-US" dirty="0">
                <a:solidFill>
                  <a:srgbClr val="FF0000"/>
                </a:solidFill>
              </a:rPr>
              <a:t>E2A.bHLH_51</a:t>
            </a:r>
          </a:p>
          <a:p>
            <a:r>
              <a:rPr lang="en-US" dirty="0">
                <a:solidFill>
                  <a:srgbClr val="FF0000"/>
                </a:solidFill>
              </a:rPr>
              <a:t>Tcf12.bHLH_266</a:t>
            </a:r>
          </a:p>
          <a:p>
            <a:r>
              <a:rPr lang="en-US" dirty="0">
                <a:solidFill>
                  <a:srgbClr val="FF0000"/>
                </a:solidFill>
              </a:rPr>
              <a:t>HIF2a.bHLH_124</a:t>
            </a:r>
          </a:p>
          <a:p>
            <a:r>
              <a:rPr lang="en-US" dirty="0">
                <a:solidFill>
                  <a:srgbClr val="FF0000"/>
                </a:solidFill>
              </a:rPr>
              <a:t>MyoD.bHLH_170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82E4E0C-D6B4-C6E3-3773-93EA04B99B5B}"/>
              </a:ext>
            </a:extLst>
          </p:cNvPr>
          <p:cNvSpPr txBox="1"/>
          <p:nvPr/>
        </p:nvSpPr>
        <p:spPr>
          <a:xfrm>
            <a:off x="328866" y="131266"/>
            <a:ext cx="10967866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0" i="0" dirty="0">
                <a:solidFill>
                  <a:schemeClr val="accent1">
                    <a:lumMod val="50000"/>
                  </a:schemeClr>
                </a:solidFill>
                <a:effectLst/>
                <a:latin typeface="Helvetica Neue" panose="02000503000000020004" pitchFamily="2" charset="0"/>
              </a:rPr>
              <a:t>Single cell ATAC-seq predict motif and transcription factors from accessible chromatin sites.</a:t>
            </a:r>
            <a:endParaRPr lang="en-US" sz="280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9229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6A404E8-245B-F837-D797-67D32FE4A1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3083" y="598794"/>
            <a:ext cx="9312029" cy="588987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31F50A5-0C9D-436D-0F28-4B5CB315D32C}"/>
              </a:ext>
            </a:extLst>
          </p:cNvPr>
          <p:cNvSpPr txBox="1"/>
          <p:nvPr/>
        </p:nvSpPr>
        <p:spPr>
          <a:xfrm>
            <a:off x="8369466" y="6488668"/>
            <a:ext cx="22369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Figure made by </a:t>
            </a:r>
            <a:r>
              <a:rPr lang="en-US" dirty="0" err="1">
                <a:solidFill>
                  <a:schemeClr val="accent1">
                    <a:lumMod val="50000"/>
                  </a:schemeClr>
                </a:solidFill>
              </a:rPr>
              <a:t>ArchR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48696FA-52E7-0BD6-BD4E-242F5FFBDE76}"/>
              </a:ext>
            </a:extLst>
          </p:cNvPr>
          <p:cNvSpPr txBox="1"/>
          <p:nvPr/>
        </p:nvSpPr>
        <p:spPr>
          <a:xfrm>
            <a:off x="486888" y="1102763"/>
            <a:ext cx="124367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chemeClr val="accent1">
                    <a:lumMod val="50000"/>
                  </a:schemeClr>
                </a:solidFill>
              </a:rPr>
              <a:t>QTL1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C5F87EF-D419-734F-4470-4869EF3171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06371" y="557559"/>
            <a:ext cx="1104207" cy="16003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CBD5B08-2124-93F6-F5E4-894EBF28AA9A}"/>
              </a:ext>
            </a:extLst>
          </p:cNvPr>
          <p:cNvSpPr txBox="1"/>
          <p:nvPr/>
        </p:nvSpPr>
        <p:spPr>
          <a:xfrm>
            <a:off x="543296" y="2470068"/>
            <a:ext cx="167045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TAC-seq peaks</a:t>
            </a:r>
          </a:p>
          <a:p>
            <a:r>
              <a:rPr lang="en-US" dirty="0"/>
              <a:t>for each clust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65043C1-78A1-F02D-CE92-A6D180AE5DF6}"/>
              </a:ext>
            </a:extLst>
          </p:cNvPr>
          <p:cNvSpPr txBox="1"/>
          <p:nvPr/>
        </p:nvSpPr>
        <p:spPr>
          <a:xfrm>
            <a:off x="170853" y="148656"/>
            <a:ext cx="1259512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800" i="0" dirty="0">
                <a:solidFill>
                  <a:schemeClr val="accent1">
                    <a:lumMod val="50000"/>
                  </a:schemeClr>
                </a:solidFill>
                <a:effectLst/>
                <a:latin typeface="Helvetica Neue" panose="02000503000000020004" pitchFamily="2" charset="0"/>
              </a:rPr>
              <a:t>Single cell ATAC-seq Peak shows chromatin open </a:t>
            </a:r>
            <a:r>
              <a:rPr lang="en-US" sz="2800" dirty="0">
                <a:solidFill>
                  <a:schemeClr val="accent1">
                    <a:lumMod val="50000"/>
                  </a:schemeClr>
                </a:solidFill>
                <a:latin typeface="Helvetica Neue" panose="02000503000000020004" pitchFamily="2" charset="0"/>
              </a:rPr>
              <a:t>region </a:t>
            </a:r>
            <a:r>
              <a:rPr lang="en-US" sz="2800" i="0" dirty="0">
                <a:solidFill>
                  <a:schemeClr val="accent1">
                    <a:lumMod val="50000"/>
                  </a:schemeClr>
                </a:solidFill>
                <a:effectLst/>
                <a:latin typeface="Helvetica Neue" panose="02000503000000020004" pitchFamily="2" charset="0"/>
              </a:rPr>
              <a:t>difference among clusters </a:t>
            </a:r>
          </a:p>
        </p:txBody>
      </p:sp>
    </p:spTree>
    <p:extLst>
      <p:ext uri="{BB962C8B-B14F-4D97-AF65-F5344CB8AC3E}">
        <p14:creationId xmlns:p14="http://schemas.microsoft.com/office/powerpoint/2010/main" val="32548622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292A3D6-0843-DD7C-15EF-8C72E0C888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83996" y="311150"/>
            <a:ext cx="6565900" cy="62357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0D0E8CC-30EE-BAA5-FB91-1940DC8EF691}"/>
              </a:ext>
            </a:extLst>
          </p:cNvPr>
          <p:cNvSpPr/>
          <p:nvPr/>
        </p:nvSpPr>
        <p:spPr>
          <a:xfrm>
            <a:off x="7377006" y="5277053"/>
            <a:ext cx="1940582" cy="500514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D236726-F004-4F35-62EF-488D6F8D06DC}"/>
              </a:ext>
            </a:extLst>
          </p:cNvPr>
          <p:cNvSpPr txBox="1"/>
          <p:nvPr/>
        </p:nvSpPr>
        <p:spPr>
          <a:xfrm>
            <a:off x="1056261" y="2890391"/>
            <a:ext cx="313048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0" dirty="0">
                <a:solidFill>
                  <a:srgbClr val="FF0000"/>
                </a:solidFill>
                <a:effectLst/>
                <a:latin typeface="Roboto" panose="020F0502020204030204" pitchFamily="34" charset="0"/>
              </a:rPr>
              <a:t>Zm00001d021906</a:t>
            </a:r>
            <a:r>
              <a:rPr lang="en-US" b="0" i="0" dirty="0">
                <a:solidFill>
                  <a:srgbClr val="4D5156"/>
                </a:solidFill>
                <a:effectLst/>
                <a:latin typeface="Roboto" panose="020F0502020204030204" pitchFamily="34" charset="0"/>
              </a:rPr>
              <a:t> </a:t>
            </a:r>
            <a:r>
              <a:rPr lang="en-US" b="0" i="0" dirty="0">
                <a:solidFill>
                  <a:srgbClr val="FF0000"/>
                </a:solidFill>
                <a:effectLst/>
                <a:latin typeface="Roboto" panose="020F0502020204030204" pitchFamily="34" charset="0"/>
              </a:rPr>
              <a:t>(lhca2): </a:t>
            </a:r>
            <a:r>
              <a:rPr lang="en-US" b="0" i="0" dirty="0">
                <a:solidFill>
                  <a:srgbClr val="4D5156"/>
                </a:solidFill>
                <a:effectLst/>
                <a:latin typeface="Roboto" panose="020F0502020204030204" pitchFamily="34" charset="0"/>
              </a:rPr>
              <a:t>is important for maize to improve photosynthesis under abiotic stresses, such as drought and low temperature</a:t>
            </a:r>
            <a:endParaRPr lang="en-US" dirty="0">
              <a:solidFill>
                <a:srgbClr val="FF0000"/>
              </a:solidFill>
            </a:endParaRPr>
          </a:p>
          <a:p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DEB11D2-8974-A963-2D71-E52D7E9209C4}"/>
              </a:ext>
            </a:extLst>
          </p:cNvPr>
          <p:cNvSpPr/>
          <p:nvPr/>
        </p:nvSpPr>
        <p:spPr>
          <a:xfrm>
            <a:off x="8390068" y="137893"/>
            <a:ext cx="223024" cy="6567779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0844415-51E4-945B-F0ED-6CFC2C20F2BD}"/>
              </a:ext>
            </a:extLst>
          </p:cNvPr>
          <p:cNvSpPr txBox="1"/>
          <p:nvPr/>
        </p:nvSpPr>
        <p:spPr>
          <a:xfrm>
            <a:off x="242104" y="282788"/>
            <a:ext cx="5286497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800" i="0" dirty="0">
                <a:solidFill>
                  <a:schemeClr val="accent1">
                    <a:lumMod val="50000"/>
                  </a:schemeClr>
                </a:solidFill>
                <a:effectLst/>
                <a:latin typeface="Helvetica Neue" panose="02000503000000020004" pitchFamily="2" charset="0"/>
              </a:rPr>
              <a:t>Marker ATAC-seq Peak shows gene Transcrip</a:t>
            </a:r>
            <a:r>
              <a:rPr lang="en-US" sz="2800" dirty="0">
                <a:solidFill>
                  <a:schemeClr val="accent1">
                    <a:lumMod val="50000"/>
                  </a:schemeClr>
                </a:solidFill>
                <a:latin typeface="Helvetica Neue" panose="02000503000000020004" pitchFamily="2" charset="0"/>
              </a:rPr>
              <a:t>tion </a:t>
            </a:r>
            <a:r>
              <a:rPr lang="en-US" sz="2800" i="0" dirty="0">
                <a:solidFill>
                  <a:schemeClr val="accent1">
                    <a:lumMod val="50000"/>
                  </a:schemeClr>
                </a:solidFill>
                <a:effectLst/>
                <a:latin typeface="Helvetica Neue" panose="02000503000000020004" pitchFamily="2" charset="0"/>
              </a:rPr>
              <a:t>Start Site open level difference among clusters </a:t>
            </a:r>
          </a:p>
        </p:txBody>
      </p:sp>
    </p:spTree>
    <p:extLst>
      <p:ext uri="{BB962C8B-B14F-4D97-AF65-F5344CB8AC3E}">
        <p14:creationId xmlns:p14="http://schemas.microsoft.com/office/powerpoint/2010/main" val="36033630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16</TotalTime>
  <Words>250</Words>
  <Application>Microsoft Macintosh PowerPoint</Application>
  <PresentationFormat>Widescreen</PresentationFormat>
  <Paragraphs>41</Paragraphs>
  <Slides>10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Calibri Light</vt:lpstr>
      <vt:lpstr>Helvetica Neue</vt:lpstr>
      <vt:lpstr>Roboto</vt:lpstr>
      <vt:lpstr>Office Theme</vt:lpstr>
      <vt:lpstr>Single cell sequence data to facilitate Maize kernel row number gene discovery</vt:lpstr>
      <vt:lpstr>Single cell ATAC-seq data  of Ear tissue</vt:lpstr>
      <vt:lpstr>Single cell ATAC-seq data contains cell specific information</vt:lpstr>
      <vt:lpstr>PowerPoint Presentation</vt:lpstr>
      <vt:lpstr>Identify marker peaks</vt:lpstr>
      <vt:lpstr>Pairwise Testing Between clusters</vt:lpstr>
      <vt:lpstr>Motif enrichment difference between C2 and C6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ngle cell ATAC-seq data  of Ear tissue</dc:title>
  <dc:creator>Lin Du</dc:creator>
  <cp:lastModifiedBy>Lin Du</cp:lastModifiedBy>
  <cp:revision>4</cp:revision>
  <dcterms:created xsi:type="dcterms:W3CDTF">2023-08-02T14:26:23Z</dcterms:created>
  <dcterms:modified xsi:type="dcterms:W3CDTF">2023-08-03T21:24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c76c141-ac86-40e5-abf2-c6f60e474cee_Enabled">
    <vt:lpwstr>true</vt:lpwstr>
  </property>
  <property fmtid="{D5CDD505-2E9C-101B-9397-08002B2CF9AE}" pid="3" name="MSIP_Label_2c76c141-ac86-40e5-abf2-c6f60e474cee_SetDate">
    <vt:lpwstr>2023-08-02T14:33:14Z</vt:lpwstr>
  </property>
  <property fmtid="{D5CDD505-2E9C-101B-9397-08002B2CF9AE}" pid="4" name="MSIP_Label_2c76c141-ac86-40e5-abf2-c6f60e474cee_Method">
    <vt:lpwstr>Standard</vt:lpwstr>
  </property>
  <property fmtid="{D5CDD505-2E9C-101B-9397-08002B2CF9AE}" pid="5" name="MSIP_Label_2c76c141-ac86-40e5-abf2-c6f60e474cee_Name">
    <vt:lpwstr>2c76c141-ac86-40e5-abf2-c6f60e474cee</vt:lpwstr>
  </property>
  <property fmtid="{D5CDD505-2E9C-101B-9397-08002B2CF9AE}" pid="6" name="MSIP_Label_2c76c141-ac86-40e5-abf2-c6f60e474cee_SiteId">
    <vt:lpwstr>fcb2b37b-5da0-466b-9b83-0014b67a7c78</vt:lpwstr>
  </property>
  <property fmtid="{D5CDD505-2E9C-101B-9397-08002B2CF9AE}" pid="7" name="MSIP_Label_2c76c141-ac86-40e5-abf2-c6f60e474cee_ActionId">
    <vt:lpwstr>0b83cc71-49a0-4e56-9c3c-66b0344a1db3</vt:lpwstr>
  </property>
  <property fmtid="{D5CDD505-2E9C-101B-9397-08002B2CF9AE}" pid="8" name="MSIP_Label_2c76c141-ac86-40e5-abf2-c6f60e474cee_ContentBits">
    <vt:lpwstr>2</vt:lpwstr>
  </property>
  <property fmtid="{D5CDD505-2E9C-101B-9397-08002B2CF9AE}" pid="9" name="ClassificationContentMarkingFooterLocations">
    <vt:lpwstr>Office Theme:8</vt:lpwstr>
  </property>
  <property fmtid="{D5CDD505-2E9C-101B-9397-08002B2CF9AE}" pid="10" name="ClassificationContentMarkingFooterText">
    <vt:lpwstr>RESTRICTED</vt:lpwstr>
  </property>
</Properties>
</file>